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15" r:id="rId2"/>
  </p:sldIdLst>
  <p:sldSz cx="9144000" cy="6858000" type="screen4x3"/>
  <p:notesSz cx="9942513" cy="6761163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226">
          <p15:clr>
            <a:srgbClr val="A4A3A4"/>
          </p15:clr>
        </p15:guide>
        <p15:guide id="4" pos="5534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30" userDrawn="1">
          <p15:clr>
            <a:srgbClr val="A4A3A4"/>
          </p15:clr>
        </p15:guide>
        <p15:guide id="2" pos="31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CE2"/>
    <a:srgbClr val="32B4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3440" autoAdjust="0"/>
  </p:normalViewPr>
  <p:slideViewPr>
    <p:cSldViewPr showGuides="1">
      <p:cViewPr varScale="1">
        <p:scale>
          <a:sx n="76" d="100"/>
          <a:sy n="76" d="100"/>
        </p:scale>
        <p:origin x="859" y="53"/>
      </p:cViewPr>
      <p:guideLst>
        <p:guide orient="horz" pos="3884"/>
        <p:guide orient="horz" pos="913"/>
        <p:guide pos="226"/>
        <p:guide pos="5534"/>
        <p:guide pos="2812"/>
        <p:guide pos="29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1" d="100"/>
          <a:sy n="51" d="100"/>
        </p:scale>
        <p:origin x="2692" y="48"/>
      </p:cViewPr>
      <p:guideLst>
        <p:guide orient="horz" pos="2130"/>
        <p:guide pos="313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63179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4.04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63179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63179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4.04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279775" y="506413"/>
            <a:ext cx="3382963" cy="2536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94252" y="3211553"/>
            <a:ext cx="7954010" cy="304252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63179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5" y="3439938"/>
            <a:ext cx="835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9" y="1897200"/>
            <a:ext cx="3167674" cy="164379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8972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DF179E4-8505-4600-9DB1-D8DB793237B8}" type="datetime1">
              <a:rPr lang="de-DE" smtClean="0"/>
              <a:t>14.04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60C4F59-E18E-4F09-B572-E436A5ACE1BD}" type="datetime1">
              <a:rPr lang="de-DE" smtClean="0"/>
              <a:t>14.04.202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1" y="-28800"/>
            <a:ext cx="1382256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U_Text oder Diagramm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357188" y="958292"/>
            <a:ext cx="8429654" cy="256131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/>
          </p:nvPr>
        </p:nvSpPr>
        <p:spPr>
          <a:xfrm>
            <a:off x="357188" y="172529"/>
            <a:ext cx="7286646" cy="256097"/>
          </a:xfrm>
        </p:spPr>
        <p:txBody>
          <a:bodyPr/>
          <a:lstStyle>
            <a:lvl1pPr>
              <a:defRPr sz="1000">
                <a:solidFill>
                  <a:schemeClr val="bg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34002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80" y="129600"/>
            <a:ext cx="3167672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296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B4D7AD4-DE3A-48F7-A4A2-9CA30D89BA42}" type="datetime1">
              <a:rPr lang="de-DE" smtClean="0"/>
              <a:t>14.04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E01F34A-062E-4E19-8FEE-FB0238332474}" type="datetime1">
              <a:rPr lang="de-DE" smtClean="0"/>
              <a:t>14.04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9B81120F-11EE-4C21-ABBF-87B6DBC668D7}" type="datetime1">
              <a:rPr lang="de-DE" smtClean="0"/>
              <a:t>14.04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449388"/>
            <a:ext cx="4105275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screenmakers\Kunden\kleinerundbold\Henkes_HSB_Master\PPT_Klassisch\Bilder\Inhalt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16316" y="6392354"/>
            <a:ext cx="765448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83AA72F1-85F3-459E-94EC-0A58496C6808}" type="datetime1">
              <a:rPr lang="de-DE" smtClean="0"/>
              <a:t>14.04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92354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92354"/>
            <a:ext cx="39198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5694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584684"/>
            <a:ext cx="8424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  <p:sldLayoutId id="2147483665" r:id="rId12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aulis.hs-bremen.de/goto.php/fold/1743180" TargetMode="External"/><Relationship Id="rId2" Type="http://schemas.openxmlformats.org/officeDocument/2006/relationships/hyperlink" Target="https://aulis.hs-bremen.de/goto.php/fold/2043271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mailto:zll-support@hs-bremen.de" TargetMode="External"/><Relationship Id="rId4" Type="http://schemas.openxmlformats.org/officeDocument/2006/relationships/hyperlink" Target="https://aulis.hs-bremen.de/goto.php/fold/174344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6171F014-E563-426B-9E11-2F8346D3F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417" y="764704"/>
            <a:ext cx="8424000" cy="612000"/>
          </a:xfrm>
        </p:spPr>
        <p:txBody>
          <a:bodyPr/>
          <a:lstStyle/>
          <a:p>
            <a:pPr algn="ctr"/>
            <a:r>
              <a:rPr lang="de-DE" dirty="0"/>
              <a:t>Sitzungen &amp; Objekteblöcke: Wie sortiere ich Dateien in AULIS?</a:t>
            </a:r>
            <a:endParaRPr lang="de-DE" sz="1800" dirty="0"/>
          </a:p>
        </p:txBody>
      </p:sp>
      <p:graphicFrame>
        <p:nvGraphicFramePr>
          <p:cNvPr id="6" name="Tabelle 9">
            <a:extLst>
              <a:ext uri="{FF2B5EF4-FFF2-40B4-BE49-F238E27FC236}">
                <a16:creationId xmlns:a16="http://schemas.microsoft.com/office/drawing/2014/main" id="{20125C54-73CF-4633-82C1-B52C4A2D29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444651"/>
              </p:ext>
            </p:extLst>
          </p:nvPr>
        </p:nvGraphicFramePr>
        <p:xfrm>
          <a:off x="792000" y="2146911"/>
          <a:ext cx="7560000" cy="3108960"/>
        </p:xfrm>
        <a:graphic>
          <a:graphicData uri="http://schemas.openxmlformats.org/drawingml/2006/table">
            <a:tbl>
              <a:tblPr bandRow="1">
                <a:tableStyleId>{10A1B5D5-9B99-4C35-A422-299274C87663}</a:tableStyleId>
              </a:tblPr>
              <a:tblGrid>
                <a:gridCol w="3780000">
                  <a:extLst>
                    <a:ext uri="{9D8B030D-6E8A-4147-A177-3AD203B41FA5}">
                      <a16:colId xmlns:a16="http://schemas.microsoft.com/office/drawing/2014/main" val="2414435975"/>
                    </a:ext>
                  </a:extLst>
                </a:gridCol>
                <a:gridCol w="3780000">
                  <a:extLst>
                    <a:ext uri="{9D8B030D-6E8A-4147-A177-3AD203B41FA5}">
                      <a16:colId xmlns:a16="http://schemas.microsoft.com/office/drawing/2014/main" val="833431287"/>
                    </a:ext>
                  </a:extLst>
                </a:gridCol>
              </a:tblGrid>
              <a:tr h="633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AULIS: Objekte kopieren, löschen, verschieben, verknüpfen oder sortier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2"/>
                        </a:rPr>
                        <a:t>https://aulis.hs-bremen.de/goto.php/fold/2043271</a:t>
                      </a:r>
                      <a:endParaRPr lang="de-DE" sz="1800" dirty="0">
                        <a:solidFill>
                          <a:schemeClr val="bg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417988"/>
                  </a:ext>
                </a:extLst>
              </a:tr>
              <a:tr h="9051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Objekteblöcke: Objekte in AULIS nach Inhalt strukturieren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3"/>
                        </a:rPr>
                        <a:t>https://aulis.hs-bremen.de/goto.php/fold/174318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50713"/>
                  </a:ext>
                </a:extLst>
              </a:tr>
              <a:tr h="633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Sitzungen: Objekte in AULIS nach Terminen strukturieren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4"/>
                        </a:rPr>
                        <a:t>https://aulis.hs-bremen.de/goto.php/fold/1743442</a:t>
                      </a:r>
                      <a:endParaRPr lang="de-DE" sz="1800" dirty="0">
                        <a:solidFill>
                          <a:schemeClr val="bg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11624"/>
                  </a:ext>
                </a:extLst>
              </a:tr>
              <a:tr h="362057"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5"/>
                        </a:rPr>
                        <a:t>zll-support@hs-bremen.de</a:t>
                      </a: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 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322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8067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1CE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200"/>
          </a:spcBef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90</Words>
  <Application>Microsoft Office PowerPoint</Application>
  <PresentationFormat>Bildschirmpräsentation (4:3)</PresentationFormat>
  <Paragraphs>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HSB_4zu3_türkisblau</vt:lpstr>
      <vt:lpstr>think-cell Folie</vt:lpstr>
      <vt:lpstr>Sitzungen &amp; Objekteblöcke: Wie sortiere ich Dateien in AULIS?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jessica.heidmann@hs-bremen.de</cp:lastModifiedBy>
  <cp:revision>173</cp:revision>
  <cp:lastPrinted>2020-08-18T10:00:05Z</cp:lastPrinted>
  <dcterms:created xsi:type="dcterms:W3CDTF">2016-01-25T15:52:04Z</dcterms:created>
  <dcterms:modified xsi:type="dcterms:W3CDTF">2026-04-14T09:22:33Z</dcterms:modified>
  <cp:category>Vorlage</cp:category>
</cp:coreProperties>
</file>